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67" r:id="rId5"/>
    <p:sldId id="268" r:id="rId6"/>
    <p:sldId id="273" r:id="rId7"/>
    <p:sldId id="269" r:id="rId8"/>
    <p:sldId id="274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3" d="100"/>
          <a:sy n="63" d="100"/>
        </p:scale>
        <p:origin x="1378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6F3DD-65F6-4AD1-B232-1E06156E00D5}" type="datetimeFigureOut">
              <a:rPr lang="en-US" smtClean="0"/>
              <a:t>1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13E61B-A088-46AC-BAAC-041BE8237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23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09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567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298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595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696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74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41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8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864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034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5195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14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SCMT 7.3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746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12" y="2693987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Supplier Initiate E-SIR – TSCMT 7.3</a:t>
            </a:r>
            <a:br>
              <a:rPr lang="en-US" sz="3200" dirty="0"/>
            </a:br>
            <a:r>
              <a:rPr lang="en-US" sz="2400" dirty="0"/>
              <a:t>Scope: Instructions for initiation of a new supplier information request</a:t>
            </a:r>
            <a:endParaRPr lang="en-US" sz="3200" dirty="0"/>
          </a:p>
        </p:txBody>
      </p:sp>
      <p:pic>
        <p:nvPicPr>
          <p:cNvPr id="4" name="Picture 11" descr="TG_2C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5874" y="652689"/>
            <a:ext cx="2160588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301625" y="5030788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1</a:t>
            </a:fld>
            <a:endParaRPr lang="en-US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89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21FD5D-075E-45E2-9C38-542F361DE1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685800"/>
            <a:ext cx="7623659" cy="513979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066800" y="304800"/>
            <a:ext cx="2868157" cy="3385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/>
              <a:t>Step 1.  LOGIN to supplier porta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2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cxnSp>
        <p:nvCxnSpPr>
          <p:cNvPr id="7" name="Straight Arrow Connector 6"/>
          <p:cNvCxnSpPr>
            <a:stCxn id="2" idx="2"/>
          </p:cNvCxnSpPr>
          <p:nvPr/>
        </p:nvCxnSpPr>
        <p:spPr>
          <a:xfrm>
            <a:off x="2500879" y="643354"/>
            <a:ext cx="547121" cy="400484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77736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3CF02EB-2E6C-499B-AE4D-40A265F080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931" t="14400" r="2813" b="46572"/>
          <a:stretch/>
        </p:blipFill>
        <p:spPr>
          <a:xfrm>
            <a:off x="838200" y="1756410"/>
            <a:ext cx="6629400" cy="334518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834216" y="529010"/>
            <a:ext cx="3960123" cy="3385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/>
              <a:t>Step 1.  Select “New E-SIR” from E-SIRS menu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3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cxnSp>
        <p:nvCxnSpPr>
          <p:cNvPr id="7" name="Straight Arrow Connector 6"/>
          <p:cNvCxnSpPr>
            <a:cxnSpLocks/>
          </p:cNvCxnSpPr>
          <p:nvPr/>
        </p:nvCxnSpPr>
        <p:spPr>
          <a:xfrm>
            <a:off x="5562600" y="838200"/>
            <a:ext cx="609600" cy="2133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6562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FB7C283-FD7B-44CD-A3F1-3B76423E56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648" y="609600"/>
            <a:ext cx="7221600" cy="54864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31648" y="171647"/>
            <a:ext cx="5181600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Step 2.  Complete all sections of the E-SIR (enter NA as applicable)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4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669024" y="2778497"/>
            <a:ext cx="2209800" cy="15696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Enter all applicable information, Note all fields require input, enter NA for any information that is not applicable.</a:t>
            </a:r>
          </a:p>
        </p:txBody>
      </p:sp>
      <p:sp>
        <p:nvSpPr>
          <p:cNvPr id="20" name="Right Brace 19"/>
          <p:cNvSpPr/>
          <p:nvPr/>
        </p:nvSpPr>
        <p:spPr>
          <a:xfrm>
            <a:off x="4267200" y="2463311"/>
            <a:ext cx="2362200" cy="203895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AF89A1C-CB7D-4C9A-939C-1E1B66A20FE2}"/>
              </a:ext>
            </a:extLst>
          </p:cNvPr>
          <p:cNvGrpSpPr/>
          <p:nvPr/>
        </p:nvGrpSpPr>
        <p:grpSpPr>
          <a:xfrm>
            <a:off x="5105400" y="1509204"/>
            <a:ext cx="4114800" cy="1077218"/>
            <a:chOff x="4900296" y="2558175"/>
            <a:chExt cx="4114800" cy="1077218"/>
          </a:xfrm>
        </p:grpSpPr>
        <p:sp>
          <p:nvSpPr>
            <p:cNvPr id="9" name="TextBox 8"/>
            <p:cNvSpPr txBox="1"/>
            <p:nvPr/>
          </p:nvSpPr>
          <p:spPr>
            <a:xfrm>
              <a:off x="6805296" y="2558175"/>
              <a:ext cx="2209800" cy="10772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Select the Triumph Company that you are submitting the information request to.</a:t>
              </a:r>
            </a:p>
          </p:txBody>
        </p:sp>
        <p:cxnSp>
          <p:nvCxnSpPr>
            <p:cNvPr id="7" name="Straight Arrow Connector 6"/>
            <p:cNvCxnSpPr>
              <a:stCxn id="9" idx="1"/>
            </p:cNvCxnSpPr>
            <p:nvPr/>
          </p:nvCxnSpPr>
          <p:spPr>
            <a:xfrm flipH="1">
              <a:off x="4900296" y="3096784"/>
              <a:ext cx="1905000" cy="100312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0EB67A26-85C3-4C5A-A08E-6E9D4619FA89}"/>
              </a:ext>
            </a:extLst>
          </p:cNvPr>
          <p:cNvSpPr txBox="1"/>
          <p:nvPr/>
        </p:nvSpPr>
        <p:spPr>
          <a:xfrm>
            <a:off x="4419600" y="4432518"/>
            <a:ext cx="4485767" cy="18158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If not complete, select “Save and Close”, SIR will display with a saved status on suppliers home page.  You will have the option to void if necessary.</a:t>
            </a:r>
          </a:p>
          <a:p>
            <a:r>
              <a:rPr lang="en-US" sz="1600" dirty="0"/>
              <a:t>If complete, select “Save and Submit to Triumph.”</a:t>
            </a:r>
          </a:p>
          <a:p>
            <a:r>
              <a:rPr lang="en-US" sz="1600" dirty="0"/>
              <a:t>Click on “Process E-SIR” </a:t>
            </a:r>
          </a:p>
          <a:p>
            <a:r>
              <a:rPr lang="en-US" sz="1600" dirty="0"/>
              <a:t>Note:  E-SIR will be submitted to the Triumph Procurement contact noted on your supplier profile.</a:t>
            </a:r>
          </a:p>
        </p:txBody>
      </p:sp>
      <p:sp>
        <p:nvSpPr>
          <p:cNvPr id="22" name="Right Brace 21">
            <a:extLst>
              <a:ext uri="{FF2B5EF4-FFF2-40B4-BE49-F238E27FC236}">
                <a16:creationId xmlns:a16="http://schemas.microsoft.com/office/drawing/2014/main" id="{B9B03C2A-F802-45DF-B61E-A89B6E0D1F75}"/>
              </a:ext>
            </a:extLst>
          </p:cNvPr>
          <p:cNvSpPr/>
          <p:nvPr/>
        </p:nvSpPr>
        <p:spPr>
          <a:xfrm>
            <a:off x="3876169" y="5175906"/>
            <a:ext cx="609600" cy="6858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4888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469837D-BCC9-4D9E-A050-91D0960048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076" y="1257553"/>
            <a:ext cx="7922124" cy="184762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295400" y="228600"/>
            <a:ext cx="5791200" cy="10772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/>
              <a:t>After submittal – the E-SIR will display on the supplier users home page, you can access it by clicking on it.  Note: you will not be able to void after submittal.  Contact the procurement agent if sent in error or you would like it sent back to add/modify any content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5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3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17" t="49507"/>
          <a:stretch/>
        </p:blipFill>
        <p:spPr bwMode="auto">
          <a:xfrm>
            <a:off x="2514600" y="3581400"/>
            <a:ext cx="5559924" cy="2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Arrow Connector 4"/>
          <p:cNvCxnSpPr>
            <a:cxnSpLocks/>
          </p:cNvCxnSpPr>
          <p:nvPr/>
        </p:nvCxnSpPr>
        <p:spPr>
          <a:xfrm flipH="1">
            <a:off x="3962400" y="2020907"/>
            <a:ext cx="516450" cy="293209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037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sion_x0020_Level xmlns="d144ef81-a420-4d3d-9c25-279f13b02980">A</Revision_x0020_Level>
    <Effective_x0020_Date xmlns="d144ef81-a420-4d3d-9c25-279f13b02980">2017-02-13T05:00:00+00:00</Effective_x0020_Date>
    <Folder xmlns="d144ef81-a420-4d3d-9c25-279f13b02980">Section 7.0</Folder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38F0665F619440A026651497F1F213" ma:contentTypeVersion="3" ma:contentTypeDescription="Create a new document." ma:contentTypeScope="" ma:versionID="512b5843f1e14b88544e85f14ee9ecba">
  <xsd:schema xmlns:xsd="http://www.w3.org/2001/XMLSchema" xmlns:xs="http://www.w3.org/2001/XMLSchema" xmlns:p="http://schemas.microsoft.com/office/2006/metadata/properties" xmlns:ns2="d144ef81-a420-4d3d-9c25-279f13b02980" targetNamespace="http://schemas.microsoft.com/office/2006/metadata/properties" ma:root="true" ma:fieldsID="c0847651f4081285bd038afb0c244fa7" ns2:_="">
    <xsd:import namespace="d144ef81-a420-4d3d-9c25-279f13b02980"/>
    <xsd:element name="properties">
      <xsd:complexType>
        <xsd:sequence>
          <xsd:element name="documentManagement">
            <xsd:complexType>
              <xsd:all>
                <xsd:element ref="ns2:Folder"/>
                <xsd:element ref="ns2:Revision_x0020_Level"/>
                <xsd:element ref="ns2:Effective_x0020_Dat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44ef81-a420-4d3d-9c25-279f13b02980" elementFormDefault="qualified">
    <xsd:import namespace="http://schemas.microsoft.com/office/2006/documentManagement/types"/>
    <xsd:import namespace="http://schemas.microsoft.com/office/infopath/2007/PartnerControls"/>
    <xsd:element name="Folder" ma:index="8" ma:displayName="Folder" ma:default="Section 1.0" ma:format="Dropdown" ma:internalName="Folder">
      <xsd:simpleType>
        <xsd:restriction base="dms:Choice">
          <xsd:enumeration value="Section 1.0"/>
          <xsd:enumeration value="Section 2.0"/>
          <xsd:enumeration value="Section 3.0"/>
          <xsd:enumeration value="Section 4.0"/>
          <xsd:enumeration value="Section 5.0"/>
          <xsd:enumeration value="Section 6.0"/>
          <xsd:enumeration value="Section 7.0"/>
          <xsd:enumeration value="Section 8.0"/>
        </xsd:restriction>
      </xsd:simpleType>
    </xsd:element>
    <xsd:element name="Revision_x0020_Level" ma:index="9" ma:displayName="Revision Level" ma:internalName="Revision_x0020_Level">
      <xsd:simpleType>
        <xsd:restriction base="dms:Text">
          <xsd:maxLength value="255"/>
        </xsd:restriction>
      </xsd:simpleType>
    </xsd:element>
    <xsd:element name="Effective_x0020_Date" ma:index="10" ma:displayName="Effective Date" ma:format="DateOnly" ma:internalName="Effective_x0020_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A79ECF9-9F20-45B6-88F7-E37DAE18C3D3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  <ds:schemaRef ds:uri="d144ef81-a420-4d3d-9c25-279f13b02980"/>
  </ds:schemaRefs>
</ds:datastoreItem>
</file>

<file path=customXml/itemProps2.xml><?xml version="1.0" encoding="utf-8"?>
<ds:datastoreItem xmlns:ds="http://schemas.openxmlformats.org/officeDocument/2006/customXml" ds:itemID="{E53C9DBF-0D36-4451-9DDE-FCB57D38CB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9CB9EE-4BA8-4EBD-BCA6-7364273344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44ef81-a420-4d3d-9c25-279f13b029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4</TotalTime>
  <Words>276</Words>
  <Application>Microsoft Office PowerPoint</Application>
  <PresentationFormat>On-screen Show (4:3)</PresentationFormat>
  <Paragraphs>31</Paragraphs>
  <Slides>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Calibri</vt:lpstr>
      <vt:lpstr>Office Theme</vt:lpstr>
      <vt:lpstr>Supplier Initiate E-SIR – TSCMT 7.3 Scope: Instructions for initiation of a new supplier information request</vt:lpstr>
      <vt:lpstr>PowerPoint Presentation</vt:lpstr>
      <vt:lpstr>PowerPoint Presentation</vt:lpstr>
      <vt:lpstr>PowerPoint Presentation</vt:lpstr>
      <vt:lpstr>PowerPoint Presentation</vt:lpstr>
    </vt:vector>
  </TitlesOfParts>
  <Company>Triumph Aerostructures - Vought Aircraft Divi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ot, Frank</dc:creator>
  <cp:lastModifiedBy>Willford, Eric</cp:lastModifiedBy>
  <cp:revision>65</cp:revision>
  <dcterms:created xsi:type="dcterms:W3CDTF">2013-02-27T15:23:51Z</dcterms:created>
  <dcterms:modified xsi:type="dcterms:W3CDTF">2018-01-24T18:1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38F0665F619440A026651497F1F213</vt:lpwstr>
  </property>
</Properties>
</file>